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16"/>
  </p:notesMasterIdLst>
  <p:sldIdLst>
    <p:sldId id="307" r:id="rId3"/>
    <p:sldId id="308" r:id="rId4"/>
    <p:sldId id="258" r:id="rId5"/>
    <p:sldId id="330" r:id="rId6"/>
    <p:sldId id="331" r:id="rId7"/>
    <p:sldId id="332" r:id="rId8"/>
    <p:sldId id="333" r:id="rId9"/>
    <p:sldId id="326" r:id="rId10"/>
    <p:sldId id="334" r:id="rId11"/>
    <p:sldId id="327" r:id="rId12"/>
    <p:sldId id="328" r:id="rId13"/>
    <p:sldId id="329" r:id="rId14"/>
    <p:sldId id="318" r:id="rId1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577" autoAdjust="0"/>
    <p:restoredTop sz="94660"/>
  </p:normalViewPr>
  <p:slideViewPr>
    <p:cSldViewPr>
      <p:cViewPr varScale="1">
        <p:scale>
          <a:sx n="111" d="100"/>
          <a:sy n="111" d="100"/>
        </p:scale>
        <p:origin x="-1644" y="-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11/29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November 29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://www.automationpractice.com/" TargetMode="Externa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457200"/>
            <a:ext cx="9144000" cy="5715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4800" b="1" dirty="0" smtClean="0">
                <a:solidFill>
                  <a:schemeClr val="bg1"/>
                </a:solidFill>
                <a:latin typeface="Bell MT" pitchFamily="18" charset="0"/>
                <a:ea typeface="Batang" pitchFamily="18" charset="-127"/>
              </a:rPr>
              <a:t>E-Commerce Website Testing</a:t>
            </a:r>
            <a:endParaRPr lang="en-US" sz="4800" b="1" dirty="0">
              <a:solidFill>
                <a:schemeClr val="bg1"/>
              </a:solidFill>
              <a:latin typeface="Bell MT" pitchFamily="18" charset="0"/>
              <a:ea typeface="Batang" pitchFamily="18" charset="-127"/>
            </a:endParaRPr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505200" y="6096001"/>
            <a:ext cx="1600200" cy="365125"/>
          </a:xfrm>
        </p:spPr>
        <p:txBody>
          <a:bodyPr/>
          <a:lstStyle/>
          <a:p>
            <a:r>
              <a:rPr lang="en-US" dirty="0"/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04800"/>
            <a:ext cx="8229600" cy="76200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100" b="1" dirty="0">
                <a:solidFill>
                  <a:schemeClr val="accent4">
                    <a:lumMod val="75000"/>
                  </a:schemeClr>
                </a:solidFill>
                <a:latin typeface="Batang" pitchFamily="18" charset="-127"/>
                <a:ea typeface="Batang" pitchFamily="18" charset="-127"/>
              </a:rPr>
              <a:t>TEST CASES</a:t>
            </a:r>
            <a:r>
              <a:rPr lang="en-US" dirty="0">
                <a:latin typeface="Baskerville Old Face" pitchFamily="18" charset="0"/>
              </a:rPr>
              <a:t/>
            </a:r>
            <a:br>
              <a:rPr lang="en-US" dirty="0">
                <a:latin typeface="Baskerville Old Face" pitchFamily="18" charset="0"/>
              </a:rPr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en-US" sz="3200" dirty="0" smtClean="0">
                <a:solidFill>
                  <a:schemeClr val="accent2">
                    <a:lumMod val="50000"/>
                  </a:schemeClr>
                </a:solidFill>
              </a:rPr>
              <a:t>Test Cases are divided into:</a:t>
            </a:r>
          </a:p>
          <a:p>
            <a:r>
              <a:rPr lang="en-US" sz="3200" dirty="0" smtClean="0">
                <a:solidFill>
                  <a:schemeClr val="tx2">
                    <a:lumMod val="75000"/>
                  </a:schemeClr>
                </a:solidFill>
              </a:rPr>
              <a:t>Use case		:</a:t>
            </a:r>
          </a:p>
          <a:p>
            <a:r>
              <a:rPr lang="en-US" sz="3200" dirty="0" smtClean="0">
                <a:solidFill>
                  <a:schemeClr val="tx2">
                    <a:lumMod val="75000"/>
                  </a:schemeClr>
                </a:solidFill>
              </a:rPr>
              <a:t>Intersystem		:</a:t>
            </a:r>
          </a:p>
          <a:p>
            <a:r>
              <a:rPr lang="en-US" sz="3200" dirty="0" smtClean="0">
                <a:solidFill>
                  <a:schemeClr val="tx2">
                    <a:lumMod val="75000"/>
                  </a:schemeClr>
                </a:solidFill>
              </a:rPr>
              <a:t>Security		:</a:t>
            </a:r>
          </a:p>
          <a:p>
            <a:r>
              <a:rPr lang="en-US" sz="3200" dirty="0" smtClean="0">
                <a:solidFill>
                  <a:schemeClr val="tx2">
                    <a:lumMod val="75000"/>
                  </a:schemeClr>
                </a:solidFill>
              </a:rPr>
              <a:t>State Transition	:</a:t>
            </a:r>
          </a:p>
          <a:p>
            <a:r>
              <a:rPr lang="en-US" sz="3200" dirty="0" smtClean="0">
                <a:solidFill>
                  <a:schemeClr val="tx2">
                    <a:lumMod val="75000"/>
                  </a:schemeClr>
                </a:solidFill>
              </a:rPr>
              <a:t>Functional		:</a:t>
            </a:r>
          </a:p>
          <a:p>
            <a:r>
              <a:rPr lang="en-US" sz="3200" dirty="0" smtClean="0">
                <a:solidFill>
                  <a:schemeClr val="tx2">
                    <a:lumMod val="75000"/>
                  </a:schemeClr>
                </a:solidFill>
              </a:rPr>
              <a:t>Cause and effect	:</a:t>
            </a:r>
          </a:p>
          <a:p>
            <a:pPr marL="0" indent="0" algn="ctr">
              <a:buNone/>
            </a:pPr>
            <a:endParaRPr lang="en-US" sz="3200" dirty="0">
              <a:solidFill>
                <a:schemeClr val="accent3">
                  <a:lumMod val="75000"/>
                </a:schemeClr>
              </a:solidFill>
            </a:endParaRPr>
          </a:p>
          <a:p>
            <a:pPr marL="0" indent="0" algn="ctr">
              <a:buNone/>
            </a:pPr>
            <a:r>
              <a:rPr lang="en-US" sz="3200" dirty="0" smtClean="0">
                <a:solidFill>
                  <a:schemeClr val="accent3">
                    <a:lumMod val="75000"/>
                  </a:schemeClr>
                </a:solidFill>
              </a:rPr>
              <a:t>This is the link for viewing test cases </a:t>
            </a:r>
            <a:r>
              <a:rPr lang="en-US" sz="3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:</a:t>
            </a:r>
          </a:p>
          <a:p>
            <a:pPr marL="0" indent="0" algn="ctr">
              <a:buNone/>
            </a:pPr>
            <a:endParaRPr lang="en-US" sz="32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/>
              <a:t>	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2052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>
                <a:solidFill>
                  <a:schemeClr val="accent4">
                    <a:lumMod val="75000"/>
                  </a:schemeClr>
                </a:solidFill>
                <a:latin typeface="Batang" pitchFamily="18" charset="-127"/>
                <a:ea typeface="Batang" pitchFamily="18" charset="-127"/>
              </a:rPr>
              <a:t>Defects </a:t>
            </a:r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  <a:latin typeface="Batang" pitchFamily="18" charset="-127"/>
                <a:ea typeface="Batang" pitchFamily="18" charset="-127"/>
              </a:rPr>
              <a:t>Found:</a:t>
            </a:r>
            <a:endParaRPr lang="en-US" b="1" dirty="0">
              <a:solidFill>
                <a:schemeClr val="accent4">
                  <a:lumMod val="75000"/>
                </a:schemeClr>
              </a:solidFill>
              <a:latin typeface="Batang" pitchFamily="18" charset="-127"/>
              <a:ea typeface="Batang" pitchFamily="18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3200" dirty="0">
                <a:solidFill>
                  <a:schemeClr val="accent3">
                    <a:lumMod val="75000"/>
                  </a:schemeClr>
                </a:solidFill>
              </a:rPr>
              <a:t>This is the link for viewing </a:t>
            </a:r>
            <a:r>
              <a:rPr lang="en-US" sz="3200" dirty="0" smtClean="0">
                <a:solidFill>
                  <a:schemeClr val="accent3">
                    <a:lumMod val="75000"/>
                  </a:schemeClr>
                </a:solidFill>
              </a:rPr>
              <a:t>the defect report</a:t>
            </a:r>
            <a:r>
              <a:rPr lang="en-US" sz="3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:</a:t>
            </a:r>
            <a:endParaRPr lang="en-US" sz="32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 algn="ctr">
              <a:buNone/>
            </a:pPr>
            <a:endParaRPr lang="en-US" sz="32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142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>
                <a:solidFill>
                  <a:schemeClr val="accent5">
                    <a:lumMod val="75000"/>
                  </a:schemeClr>
                </a:solidFill>
                <a:latin typeface="Batang" pitchFamily="18" charset="-127"/>
                <a:ea typeface="Batang" pitchFamily="18" charset="-127"/>
              </a:rPr>
              <a:t>CONCLUSION</a:t>
            </a:r>
            <a:endParaRPr lang="en-US" b="1" dirty="0">
              <a:solidFill>
                <a:schemeClr val="accent5">
                  <a:lumMod val="75000"/>
                </a:schemeClr>
              </a:solidFill>
              <a:latin typeface="Batang" pitchFamily="18" charset="-127"/>
              <a:ea typeface="Batang" pitchFamily="18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400" dirty="0" smtClean="0"/>
              <a:t>Found moderate number of defects in coding which can re-solved in minimal time span.</a:t>
            </a:r>
          </a:p>
          <a:p>
            <a:pPr>
              <a:lnSpc>
                <a:spcPct val="150000"/>
              </a:lnSpc>
            </a:pPr>
            <a:r>
              <a:rPr lang="en-US" sz="2400" dirty="0" smtClean="0"/>
              <a:t>39 test cases were made</a:t>
            </a:r>
          </a:p>
          <a:p>
            <a:pPr>
              <a:lnSpc>
                <a:spcPct val="150000"/>
              </a:lnSpc>
            </a:pPr>
            <a:r>
              <a:rPr lang="en-US" sz="2400" dirty="0" smtClean="0"/>
              <a:t>18 defects are found</a:t>
            </a:r>
          </a:p>
          <a:p>
            <a:pPr>
              <a:lnSpc>
                <a:spcPct val="150000"/>
              </a:lnSpc>
            </a:pPr>
            <a:r>
              <a:rPr lang="en-US" sz="2400" dirty="0" smtClean="0"/>
              <a:t>The website could be more better if multiple payment options like pay by debit card , credit card, cash on delivery, etc. were provided.</a:t>
            </a:r>
          </a:p>
          <a:p>
            <a:pPr marL="0" indent="0">
              <a:buNone/>
            </a:pPr>
            <a:endParaRPr lang="en-US" sz="2400" dirty="0" smtClean="0"/>
          </a:p>
          <a:p>
            <a:endParaRPr lang="en-US" sz="24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2064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3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571023" y="2967335"/>
            <a:ext cx="6001964" cy="156966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96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2">
                    <a:lumMod val="50000"/>
                  </a:schemeClr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Bradley Hand ITC" pitchFamily="66" charset="0"/>
              </a:rPr>
              <a:t>Thank You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>
                <a:solidFill>
                  <a:schemeClr val="accent4">
                    <a:lumMod val="75000"/>
                  </a:schemeClr>
                </a:solidFill>
                <a:latin typeface="Batang" pitchFamily="18" charset="-127"/>
                <a:ea typeface="Batang" pitchFamily="18" charset="-127"/>
              </a:rPr>
              <a:t>TEAM MEMBERS</a:t>
            </a:r>
            <a:endParaRPr lang="en-IN" sz="3600" b="1" dirty="0">
              <a:solidFill>
                <a:schemeClr val="accent4">
                  <a:lumMod val="75000"/>
                </a:schemeClr>
              </a:solidFill>
              <a:latin typeface="Batang" pitchFamily="18" charset="-127"/>
              <a:ea typeface="Batang" pitchFamily="18" charset="-127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200000"/>
              </a:lnSpc>
              <a:buFont typeface="Courier New" pitchFamily="49" charset="0"/>
              <a:buChar char="o"/>
            </a:pPr>
            <a:r>
              <a:rPr lang="en-IN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Bilwa Pelapkar</a:t>
            </a:r>
          </a:p>
          <a:p>
            <a:pPr>
              <a:lnSpc>
                <a:spcPct val="200000"/>
              </a:lnSpc>
              <a:buFont typeface="Courier New" pitchFamily="49" charset="0"/>
              <a:buChar char="o"/>
            </a:pPr>
            <a:r>
              <a:rPr lang="en-IN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Bineet Jaiswal</a:t>
            </a:r>
          </a:p>
          <a:p>
            <a:pPr>
              <a:lnSpc>
                <a:spcPct val="200000"/>
              </a:lnSpc>
              <a:buFont typeface="Courier New" pitchFamily="49" charset="0"/>
              <a:buChar char="o"/>
            </a:pPr>
            <a:r>
              <a:rPr lang="en-IN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hinmayee Khadapkar</a:t>
            </a:r>
          </a:p>
          <a:p>
            <a:pPr>
              <a:lnSpc>
                <a:spcPct val="200000"/>
              </a:lnSpc>
              <a:buFont typeface="Courier New" pitchFamily="49" charset="0"/>
              <a:buChar char="o"/>
            </a:pPr>
            <a:r>
              <a:rPr lang="en-IN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Kavita Maurya</a:t>
            </a:r>
          </a:p>
          <a:p>
            <a:pPr>
              <a:lnSpc>
                <a:spcPct val="200000"/>
              </a:lnSpc>
              <a:buFont typeface="Courier New" pitchFamily="49" charset="0"/>
              <a:buChar char="o"/>
            </a:pPr>
            <a:r>
              <a:rPr lang="en-IN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Rajib Ghosh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111875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>
                <a:solidFill>
                  <a:schemeClr val="accent4">
                    <a:lumMod val="75000"/>
                  </a:schemeClr>
                </a:solidFill>
                <a:latin typeface="Batang" pitchFamily="18" charset="-127"/>
                <a:ea typeface="Batang" pitchFamily="18" charset="-127"/>
              </a:rPr>
              <a:t>OVERVIEW OF THE PROJE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5257800"/>
          </a:xfrm>
        </p:spPr>
        <p:txBody>
          <a:bodyPr>
            <a:normAutofit fontScale="85000" lnSpcReduction="10000"/>
          </a:bodyPr>
          <a:lstStyle/>
          <a:p>
            <a:pPr>
              <a:lnSpc>
                <a:spcPct val="150000"/>
              </a:lnSpc>
            </a:pPr>
            <a:r>
              <a:rPr lang="en-US" dirty="0" smtClean="0">
                <a:solidFill>
                  <a:schemeClr val="tx1"/>
                </a:solidFill>
              </a:rPr>
              <a:t>This project is about an e-commerce clothing website.</a:t>
            </a:r>
          </a:p>
          <a:p>
            <a:pPr>
              <a:lnSpc>
                <a:spcPct val="150000"/>
              </a:lnSpc>
            </a:pPr>
            <a:r>
              <a:rPr lang="en-US" dirty="0" smtClean="0">
                <a:solidFill>
                  <a:schemeClr val="tx1"/>
                </a:solidFill>
              </a:rPr>
              <a:t>Website allows user to view products and allows them to purchase it if interested.</a:t>
            </a:r>
            <a:endParaRPr lang="en-US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dirty="0" smtClean="0">
                <a:solidFill>
                  <a:schemeClr val="tx1"/>
                </a:solidFill>
              </a:rPr>
              <a:t>It’s a shopping site which is designed for shopping of women clothing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marL="0" indent="0" algn="ctr">
              <a:lnSpc>
                <a:spcPct val="150000"/>
              </a:lnSpc>
              <a:buNone/>
            </a:pPr>
            <a:endParaRPr lang="en-US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 algn="ctr">
              <a:lnSpc>
                <a:spcPct val="150000"/>
              </a:lnSpc>
              <a:buNone/>
            </a:pPr>
            <a:endParaRPr lang="en-US" sz="3200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marL="0" indent="0" algn="ctr">
              <a:lnSpc>
                <a:spcPct val="150000"/>
              </a:lnSpc>
              <a:buNone/>
            </a:pPr>
            <a:endParaRPr lang="en-US" sz="3200" dirty="0">
              <a:solidFill>
                <a:schemeClr val="accent3">
                  <a:lumMod val="75000"/>
                </a:schemeClr>
              </a:solidFill>
            </a:endParaRPr>
          </a:p>
          <a:p>
            <a:pPr marL="0" indent="0" algn="ctr">
              <a:lnSpc>
                <a:spcPct val="150000"/>
              </a:lnSpc>
              <a:buNone/>
            </a:pPr>
            <a:endParaRPr lang="en-US" sz="3200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marL="0" indent="0" algn="ctr">
              <a:lnSpc>
                <a:spcPct val="150000"/>
              </a:lnSpc>
              <a:buNone/>
            </a:pPr>
            <a:endParaRPr lang="en-US" sz="3200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en-US" sz="3200" dirty="0" smtClean="0">
                <a:solidFill>
                  <a:schemeClr val="accent3">
                    <a:lumMod val="75000"/>
                  </a:schemeClr>
                </a:solidFill>
              </a:rPr>
              <a:t>The Application link is</a:t>
            </a:r>
            <a:r>
              <a:rPr 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:  </a:t>
            </a:r>
            <a:r>
              <a:rPr lang="en-US" sz="2000" dirty="0" smtClean="0">
                <a:solidFill>
                  <a:schemeClr val="tx1"/>
                </a:solidFill>
                <a:hlinkClick r:id="rId2"/>
              </a:rPr>
              <a:t>http://www.automationpractice.com</a:t>
            </a:r>
            <a:endParaRPr lang="en-US" sz="2000" dirty="0" smtClean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3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200400" y="6248400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1600" y="2438400"/>
            <a:ext cx="6248400" cy="3169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 smtClean="0">
                <a:solidFill>
                  <a:schemeClr val="accent5">
                    <a:lumMod val="75000"/>
                  </a:schemeClr>
                </a:solidFill>
                <a:latin typeface="Batang" pitchFamily="18" charset="-127"/>
                <a:ea typeface="Batang" pitchFamily="18" charset="-127"/>
              </a:rPr>
              <a:t>LOGIN PAGE</a:t>
            </a:r>
            <a:endParaRPr lang="en-US" sz="3600" b="1" dirty="0">
              <a:solidFill>
                <a:schemeClr val="accent5">
                  <a:lumMod val="75000"/>
                </a:schemeClr>
              </a:solidFill>
              <a:latin typeface="Batang" pitchFamily="18" charset="-127"/>
              <a:ea typeface="Batang" pitchFamily="18" charset="-127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5980" y="6400800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96" r="48870" b="3598"/>
          <a:stretch/>
        </p:blipFill>
        <p:spPr bwMode="auto">
          <a:xfrm>
            <a:off x="304800" y="1447800"/>
            <a:ext cx="2895600" cy="43437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1154" y="1447800"/>
            <a:ext cx="5562600" cy="43437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381000" y="5867400"/>
            <a:ext cx="2538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ser Registers through email and fills the details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491154" y="5995559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	My Account page after logi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21223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 smtClean="0">
                <a:solidFill>
                  <a:schemeClr val="accent5">
                    <a:lumMod val="75000"/>
                  </a:schemeClr>
                </a:solidFill>
                <a:latin typeface="Batang" pitchFamily="18" charset="-127"/>
                <a:ea typeface="Batang" pitchFamily="18" charset="-127"/>
              </a:rPr>
              <a:t>Product Description page</a:t>
            </a:r>
            <a:endParaRPr lang="en-US" sz="3600" b="1" dirty="0">
              <a:solidFill>
                <a:schemeClr val="accent5">
                  <a:lumMod val="75000"/>
                </a:schemeClr>
              </a:solidFill>
              <a:latin typeface="Batang" pitchFamily="18" charset="-127"/>
              <a:ea typeface="Batang" pitchFamily="18" charset="-127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276600" y="6402526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021" y="914401"/>
            <a:ext cx="7255379" cy="3733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624852" y="4648200"/>
            <a:ext cx="5801716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/>
              <a:t>This page shows details of the product you have selected</a:t>
            </a: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/>
              <a:t>Size and quantity can be selected here.</a:t>
            </a: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/>
              <a:t>User can write a review for the product or can share it.</a:t>
            </a: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/>
              <a:t>If user likes it , add to cart option is provid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5629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 smtClean="0">
                <a:solidFill>
                  <a:schemeClr val="accent5">
                    <a:lumMod val="75000"/>
                  </a:schemeClr>
                </a:solidFill>
                <a:latin typeface="Batang" pitchFamily="18" charset="-127"/>
                <a:ea typeface="Batang" pitchFamily="18" charset="-127"/>
              </a:rPr>
              <a:t>Shopping Cart Page</a:t>
            </a:r>
            <a:endParaRPr lang="en-US" sz="3600" b="1" dirty="0">
              <a:solidFill>
                <a:schemeClr val="accent5">
                  <a:lumMod val="75000"/>
                </a:schemeClr>
              </a:solidFill>
              <a:latin typeface="Batang" pitchFamily="18" charset="-127"/>
              <a:ea typeface="Batang" pitchFamily="18" charset="-127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46"/>
          <a:stretch/>
        </p:blipFill>
        <p:spPr bwMode="auto">
          <a:xfrm>
            <a:off x="609600" y="1016950"/>
            <a:ext cx="7961118" cy="4012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293619" y="5029200"/>
            <a:ext cx="6781800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/>
              <a:t>This page views the products in the cart.</a:t>
            </a: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/>
              <a:t>User can Increase/Decrease the quantity of the product.</a:t>
            </a: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/>
              <a:t>After this User can go ahead for payment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7718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 smtClean="0">
                <a:solidFill>
                  <a:schemeClr val="accent5">
                    <a:lumMod val="75000"/>
                  </a:schemeClr>
                </a:solidFill>
                <a:latin typeface="Batang" pitchFamily="18" charset="-127"/>
                <a:ea typeface="Batang" pitchFamily="18" charset="-127"/>
              </a:rPr>
              <a:t>ORDER DETAILS PAGE</a:t>
            </a:r>
            <a:endParaRPr lang="en-US" sz="3600" b="1" dirty="0">
              <a:solidFill>
                <a:schemeClr val="accent5">
                  <a:lumMod val="75000"/>
                </a:schemeClr>
              </a:solidFill>
              <a:latin typeface="Batang" pitchFamily="18" charset="-127"/>
              <a:ea typeface="Batang" pitchFamily="18" charset="-127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10" t="9823" r="28909" b="7261"/>
          <a:stretch/>
        </p:blipFill>
        <p:spPr bwMode="auto">
          <a:xfrm>
            <a:off x="4724400" y="1142999"/>
            <a:ext cx="4267200" cy="4439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643" b="22519"/>
          <a:stretch/>
        </p:blipFill>
        <p:spPr bwMode="auto">
          <a:xfrm>
            <a:off x="0" y="1143000"/>
            <a:ext cx="4572000" cy="4439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80606" y="5632707"/>
            <a:ext cx="40993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/>
              <a:t>Page where user can download the bill</a:t>
            </a: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/>
              <a:t>Details also can be viewed here</a:t>
            </a:r>
          </a:p>
          <a:p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5022113" y="5726584"/>
            <a:ext cx="367177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en-US" sz="2000" dirty="0" smtClean="0"/>
              <a:t>Bill is generated in PDF format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200533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  <a:latin typeface="Batang" pitchFamily="18" charset="-127"/>
                <a:ea typeface="Batang" pitchFamily="18" charset="-127"/>
              </a:rPr>
              <a:t>USE CASE</a:t>
            </a:r>
            <a:endParaRPr lang="en-US" dirty="0">
              <a:solidFill>
                <a:schemeClr val="accent4">
                  <a:lumMod val="75000"/>
                </a:schemeClr>
              </a:solidFill>
              <a:latin typeface="Batang" pitchFamily="18" charset="-127"/>
              <a:ea typeface="Batang" pitchFamily="18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0308" y="1588477"/>
            <a:ext cx="8229600" cy="4525963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Oval 5"/>
          <p:cNvSpPr/>
          <p:nvPr/>
        </p:nvSpPr>
        <p:spPr>
          <a:xfrm>
            <a:off x="4846027" y="4598376"/>
            <a:ext cx="2324100" cy="452804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Product Shipping Details</a:t>
            </a:r>
            <a:endParaRPr lang="en-US" sz="1600" dirty="0"/>
          </a:p>
        </p:txBody>
      </p:sp>
      <p:sp>
        <p:nvSpPr>
          <p:cNvPr id="7" name="Oval 6"/>
          <p:cNvSpPr/>
          <p:nvPr/>
        </p:nvSpPr>
        <p:spPr>
          <a:xfrm>
            <a:off x="966387" y="5750609"/>
            <a:ext cx="2209800" cy="422086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Remove product</a:t>
            </a:r>
            <a:endParaRPr lang="en-US" sz="1600" dirty="0"/>
          </a:p>
        </p:txBody>
      </p:sp>
      <p:sp>
        <p:nvSpPr>
          <p:cNvPr id="8" name="Oval 7"/>
          <p:cNvSpPr/>
          <p:nvPr/>
        </p:nvSpPr>
        <p:spPr>
          <a:xfrm>
            <a:off x="2401491" y="5051180"/>
            <a:ext cx="1996178" cy="468923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Modify Details</a:t>
            </a:r>
            <a:endParaRPr lang="en-US" sz="1600" dirty="0"/>
          </a:p>
        </p:txBody>
      </p:sp>
      <p:sp>
        <p:nvSpPr>
          <p:cNvPr id="9" name="Oval 8"/>
          <p:cNvSpPr/>
          <p:nvPr/>
        </p:nvSpPr>
        <p:spPr>
          <a:xfrm>
            <a:off x="2061796" y="4381500"/>
            <a:ext cx="1934308" cy="443278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dd Product</a:t>
            </a:r>
            <a:endParaRPr lang="en-US" dirty="0"/>
          </a:p>
        </p:txBody>
      </p:sp>
      <p:sp>
        <p:nvSpPr>
          <p:cNvPr id="10" name="Oval 9"/>
          <p:cNvSpPr/>
          <p:nvPr/>
        </p:nvSpPr>
        <p:spPr>
          <a:xfrm>
            <a:off x="1504950" y="990957"/>
            <a:ext cx="1466850" cy="495300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ogin</a:t>
            </a:r>
            <a:endParaRPr lang="en-US" dirty="0"/>
          </a:p>
        </p:txBody>
      </p:sp>
      <p:sp>
        <p:nvSpPr>
          <p:cNvPr id="11" name="Oval 10"/>
          <p:cNvSpPr/>
          <p:nvPr/>
        </p:nvSpPr>
        <p:spPr>
          <a:xfrm>
            <a:off x="2317947" y="1669355"/>
            <a:ext cx="2016419" cy="369250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Order Product</a:t>
            </a:r>
            <a:endParaRPr lang="en-US" sz="1600" dirty="0"/>
          </a:p>
        </p:txBody>
      </p:sp>
      <p:sp>
        <p:nvSpPr>
          <p:cNvPr id="12" name="Oval 11"/>
          <p:cNvSpPr/>
          <p:nvPr/>
        </p:nvSpPr>
        <p:spPr>
          <a:xfrm>
            <a:off x="2754923" y="2895600"/>
            <a:ext cx="2253762" cy="457200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Add Product To Wishlist</a:t>
            </a:r>
            <a:endParaRPr lang="en-US" sz="1600" dirty="0"/>
          </a:p>
        </p:txBody>
      </p:sp>
      <p:sp>
        <p:nvSpPr>
          <p:cNvPr id="13" name="Oval 12"/>
          <p:cNvSpPr/>
          <p:nvPr/>
        </p:nvSpPr>
        <p:spPr>
          <a:xfrm>
            <a:off x="2781300" y="2224454"/>
            <a:ext cx="1905000" cy="422764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Cancel Order</a:t>
            </a:r>
            <a:endParaRPr lang="en-US" sz="1600" dirty="0"/>
          </a:p>
        </p:txBody>
      </p:sp>
      <p:sp>
        <p:nvSpPr>
          <p:cNvPr id="14" name="Oval 13"/>
          <p:cNvSpPr/>
          <p:nvPr/>
        </p:nvSpPr>
        <p:spPr>
          <a:xfrm>
            <a:off x="1254369" y="3582866"/>
            <a:ext cx="2253762" cy="457200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ayment For Product</a:t>
            </a:r>
            <a:endParaRPr lang="en-US" dirty="0"/>
          </a:p>
        </p:txBody>
      </p:sp>
      <p:sp>
        <p:nvSpPr>
          <p:cNvPr id="15" name="Flowchart: Connector 14"/>
          <p:cNvSpPr/>
          <p:nvPr/>
        </p:nvSpPr>
        <p:spPr>
          <a:xfrm>
            <a:off x="457200" y="1847850"/>
            <a:ext cx="457200" cy="457200"/>
          </a:xfrm>
          <a:prstGeom prst="flowChartConnector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lowchart: Connector 15"/>
          <p:cNvSpPr/>
          <p:nvPr/>
        </p:nvSpPr>
        <p:spPr>
          <a:xfrm>
            <a:off x="8229600" y="1714500"/>
            <a:ext cx="457200" cy="457200"/>
          </a:xfrm>
          <a:prstGeom prst="flowChartConnector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lowchart: Connector 16"/>
          <p:cNvSpPr/>
          <p:nvPr/>
        </p:nvSpPr>
        <p:spPr>
          <a:xfrm>
            <a:off x="8005299" y="4625669"/>
            <a:ext cx="457200" cy="457200"/>
          </a:xfrm>
          <a:prstGeom prst="flowChartConnector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lowchart: Connector 17"/>
          <p:cNvSpPr/>
          <p:nvPr/>
        </p:nvSpPr>
        <p:spPr>
          <a:xfrm>
            <a:off x="339969" y="4381500"/>
            <a:ext cx="457200" cy="457200"/>
          </a:xfrm>
          <a:prstGeom prst="flowChartConnector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/>
          <p:cNvCxnSpPr>
            <a:stCxn id="15" idx="4"/>
          </p:cNvCxnSpPr>
          <p:nvPr/>
        </p:nvCxnSpPr>
        <p:spPr>
          <a:xfrm>
            <a:off x="685800" y="2305050"/>
            <a:ext cx="0" cy="45280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457200" y="2491154"/>
            <a:ext cx="4572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H="1" flipV="1">
            <a:off x="685800" y="2757854"/>
            <a:ext cx="228600" cy="3663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 flipH="1">
            <a:off x="457200" y="2757854"/>
            <a:ext cx="228600" cy="3663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574431" y="4838700"/>
            <a:ext cx="0" cy="45280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>
            <a:off x="339969" y="4923692"/>
            <a:ext cx="4572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 flipH="1" flipV="1">
            <a:off x="574431" y="5234353"/>
            <a:ext cx="228600" cy="3663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 flipH="1">
            <a:off x="345831" y="5237284"/>
            <a:ext cx="228600" cy="3663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 flipH="1">
            <a:off x="8229600" y="2624504"/>
            <a:ext cx="228600" cy="3663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 flipH="1">
            <a:off x="7987069" y="5511513"/>
            <a:ext cx="228600" cy="3663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 flipH="1" flipV="1">
            <a:off x="8469922" y="2624504"/>
            <a:ext cx="228600" cy="3663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 flipH="1" flipV="1">
            <a:off x="8238744" y="5511513"/>
            <a:ext cx="228600" cy="3663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>
            <a:off x="8229600" y="2316773"/>
            <a:ext cx="4572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7970664" y="5234353"/>
            <a:ext cx="4572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8458200" y="2171700"/>
            <a:ext cx="0" cy="45280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8215669" y="5077165"/>
            <a:ext cx="0" cy="45280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10" idx="2"/>
          </p:cNvCxnSpPr>
          <p:nvPr/>
        </p:nvCxnSpPr>
        <p:spPr>
          <a:xfrm flipH="1">
            <a:off x="977412" y="1238607"/>
            <a:ext cx="527538" cy="8405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>
            <a:stCxn id="11" idx="2"/>
          </p:cNvCxnSpPr>
          <p:nvPr/>
        </p:nvCxnSpPr>
        <p:spPr>
          <a:xfrm flipH="1">
            <a:off x="1003501" y="1853980"/>
            <a:ext cx="1314446" cy="46597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stCxn id="13" idx="2"/>
          </p:cNvCxnSpPr>
          <p:nvPr/>
        </p:nvCxnSpPr>
        <p:spPr>
          <a:xfrm flipH="1" flipV="1">
            <a:off x="1066800" y="2305050"/>
            <a:ext cx="1714500" cy="13078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>
            <a:stCxn id="12" idx="2"/>
          </p:cNvCxnSpPr>
          <p:nvPr/>
        </p:nvCxnSpPr>
        <p:spPr>
          <a:xfrm flipH="1" flipV="1">
            <a:off x="990600" y="2398102"/>
            <a:ext cx="1764323" cy="7260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>
            <a:stCxn id="14" idx="1"/>
          </p:cNvCxnSpPr>
          <p:nvPr/>
        </p:nvCxnSpPr>
        <p:spPr>
          <a:xfrm flipH="1" flipV="1">
            <a:off x="977412" y="2647218"/>
            <a:ext cx="607013" cy="10026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>
            <a:stCxn id="9" idx="2"/>
            <a:endCxn id="18" idx="6"/>
          </p:cNvCxnSpPr>
          <p:nvPr/>
        </p:nvCxnSpPr>
        <p:spPr>
          <a:xfrm flipH="1">
            <a:off x="797169" y="4603139"/>
            <a:ext cx="1264627" cy="69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>
            <a:stCxn id="8" idx="2"/>
          </p:cNvCxnSpPr>
          <p:nvPr/>
        </p:nvCxnSpPr>
        <p:spPr>
          <a:xfrm flipH="1" flipV="1">
            <a:off x="867465" y="4724400"/>
            <a:ext cx="1534026" cy="5612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>
            <a:endCxn id="18" idx="5"/>
          </p:cNvCxnSpPr>
          <p:nvPr/>
        </p:nvCxnSpPr>
        <p:spPr>
          <a:xfrm flipH="1" flipV="1">
            <a:off x="730214" y="4771745"/>
            <a:ext cx="1327187" cy="115818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>
            <a:stCxn id="6" idx="6"/>
            <a:endCxn id="17" idx="2"/>
          </p:cNvCxnSpPr>
          <p:nvPr/>
        </p:nvCxnSpPr>
        <p:spPr>
          <a:xfrm>
            <a:off x="7170127" y="4824778"/>
            <a:ext cx="835172" cy="2949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Oval 62"/>
          <p:cNvSpPr/>
          <p:nvPr/>
        </p:nvSpPr>
        <p:spPr>
          <a:xfrm>
            <a:off x="5400956" y="3582866"/>
            <a:ext cx="3057244" cy="531202"/>
          </a:xfrm>
          <a:prstGeom prst="ellipse">
            <a:avLst/>
          </a:prstGeom>
          <a:ln>
            <a:prstDash val="sysDash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Validate Customer Account Detail</a:t>
            </a:r>
            <a:endParaRPr lang="en-US" sz="1600" dirty="0"/>
          </a:p>
        </p:txBody>
      </p:sp>
      <p:cxnSp>
        <p:nvCxnSpPr>
          <p:cNvPr id="65" name="Straight Connector 64"/>
          <p:cNvCxnSpPr>
            <a:stCxn id="16" idx="3"/>
            <a:endCxn id="63" idx="0"/>
          </p:cNvCxnSpPr>
          <p:nvPr/>
        </p:nvCxnSpPr>
        <p:spPr>
          <a:xfrm flipH="1">
            <a:off x="6929578" y="2104745"/>
            <a:ext cx="1366977" cy="147812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Oval 79"/>
          <p:cNvSpPr/>
          <p:nvPr/>
        </p:nvSpPr>
        <p:spPr>
          <a:xfrm>
            <a:off x="5791199" y="1637283"/>
            <a:ext cx="2353407" cy="467462"/>
          </a:xfrm>
          <a:prstGeom prst="ellipse">
            <a:avLst/>
          </a:prstGeom>
          <a:ln>
            <a:prstDash val="sysDash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Check Availability</a:t>
            </a:r>
            <a:endParaRPr lang="en-US" sz="1600" dirty="0"/>
          </a:p>
        </p:txBody>
      </p:sp>
      <p:sp>
        <p:nvSpPr>
          <p:cNvPr id="81" name="Oval 80"/>
          <p:cNvSpPr/>
          <p:nvPr/>
        </p:nvSpPr>
        <p:spPr>
          <a:xfrm>
            <a:off x="5254871" y="953251"/>
            <a:ext cx="2740268" cy="522289"/>
          </a:xfrm>
          <a:prstGeom prst="ellipse">
            <a:avLst/>
          </a:prstGeom>
          <a:ln>
            <a:prstDash val="sysDash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Validate Customer</a:t>
            </a:r>
            <a:endParaRPr lang="en-US" dirty="0"/>
          </a:p>
        </p:txBody>
      </p:sp>
      <p:cxnSp>
        <p:nvCxnSpPr>
          <p:cNvPr id="83" name="Straight Arrow Connector 82"/>
          <p:cNvCxnSpPr>
            <a:stCxn id="14" idx="6"/>
            <a:endCxn id="63" idx="2"/>
          </p:cNvCxnSpPr>
          <p:nvPr/>
        </p:nvCxnSpPr>
        <p:spPr>
          <a:xfrm>
            <a:off x="3508131" y="3811466"/>
            <a:ext cx="1892825" cy="37001"/>
          </a:xfrm>
          <a:prstGeom prst="straightConnector1">
            <a:avLst/>
          </a:prstGeom>
          <a:ln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>
            <a:stCxn id="11" idx="6"/>
            <a:endCxn id="80" idx="2"/>
          </p:cNvCxnSpPr>
          <p:nvPr/>
        </p:nvCxnSpPr>
        <p:spPr>
          <a:xfrm>
            <a:off x="4334366" y="1853980"/>
            <a:ext cx="1456833" cy="17034"/>
          </a:xfrm>
          <a:prstGeom prst="straightConnector1">
            <a:avLst/>
          </a:prstGeom>
          <a:ln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>
            <a:stCxn id="10" idx="6"/>
            <a:endCxn id="81" idx="2"/>
          </p:cNvCxnSpPr>
          <p:nvPr/>
        </p:nvCxnSpPr>
        <p:spPr>
          <a:xfrm flipV="1">
            <a:off x="2971800" y="1214396"/>
            <a:ext cx="2283071" cy="24211"/>
          </a:xfrm>
          <a:prstGeom prst="straightConnector1">
            <a:avLst/>
          </a:prstGeom>
          <a:ln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Box 90"/>
          <p:cNvSpPr txBox="1"/>
          <p:nvPr/>
        </p:nvSpPr>
        <p:spPr>
          <a:xfrm>
            <a:off x="3932749" y="1321652"/>
            <a:ext cx="107593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&lt;&lt;include&gt;&gt;</a:t>
            </a:r>
            <a:endParaRPr lang="en-US" sz="1400" dirty="0"/>
          </a:p>
        </p:txBody>
      </p:sp>
      <p:sp>
        <p:nvSpPr>
          <p:cNvPr id="92" name="TextBox 91"/>
          <p:cNvSpPr txBox="1"/>
          <p:nvPr/>
        </p:nvSpPr>
        <p:spPr>
          <a:xfrm>
            <a:off x="4677263" y="2019304"/>
            <a:ext cx="11139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&lt;&lt;extend&gt;&gt;</a:t>
            </a:r>
            <a:endParaRPr lang="en-US" sz="1400" dirty="0"/>
          </a:p>
        </p:txBody>
      </p:sp>
      <p:sp>
        <p:nvSpPr>
          <p:cNvPr id="93" name="TextBox 92"/>
          <p:cNvSpPr txBox="1"/>
          <p:nvPr/>
        </p:nvSpPr>
        <p:spPr>
          <a:xfrm>
            <a:off x="3859701" y="3929402"/>
            <a:ext cx="107593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&lt;&lt;include&gt;&gt;</a:t>
            </a:r>
            <a:endParaRPr lang="en-US" sz="1400" dirty="0"/>
          </a:p>
        </p:txBody>
      </p:sp>
      <p:sp>
        <p:nvSpPr>
          <p:cNvPr id="100" name="Oval 99"/>
          <p:cNvSpPr/>
          <p:nvPr/>
        </p:nvSpPr>
        <p:spPr>
          <a:xfrm>
            <a:off x="4846027" y="5860803"/>
            <a:ext cx="2324100" cy="452804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Track order</a:t>
            </a:r>
            <a:endParaRPr lang="en-US" sz="1600" dirty="0"/>
          </a:p>
        </p:txBody>
      </p:sp>
      <p:cxnSp>
        <p:nvCxnSpPr>
          <p:cNvPr id="101" name="Straight Arrow Connector 100"/>
          <p:cNvCxnSpPr>
            <a:stCxn id="6" idx="4"/>
          </p:cNvCxnSpPr>
          <p:nvPr/>
        </p:nvCxnSpPr>
        <p:spPr>
          <a:xfrm>
            <a:off x="6008077" y="5051180"/>
            <a:ext cx="0" cy="812555"/>
          </a:xfrm>
          <a:prstGeom prst="straightConnector1">
            <a:avLst/>
          </a:prstGeom>
          <a:ln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TextBox 106"/>
          <p:cNvSpPr txBox="1"/>
          <p:nvPr/>
        </p:nvSpPr>
        <p:spPr>
          <a:xfrm>
            <a:off x="6056190" y="5303568"/>
            <a:ext cx="11139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&lt;&lt;extend&gt;&gt;</a:t>
            </a:r>
            <a:endParaRPr lang="en-US" sz="1400" dirty="0"/>
          </a:p>
        </p:txBody>
      </p:sp>
      <p:sp>
        <p:nvSpPr>
          <p:cNvPr id="108" name="TextBox 107"/>
          <p:cNvSpPr txBox="1"/>
          <p:nvPr/>
        </p:nvSpPr>
        <p:spPr>
          <a:xfrm>
            <a:off x="141946" y="3272430"/>
            <a:ext cx="10935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ustomer</a:t>
            </a:r>
            <a:endParaRPr lang="en-US" dirty="0"/>
          </a:p>
        </p:txBody>
      </p:sp>
      <p:sp>
        <p:nvSpPr>
          <p:cNvPr id="109" name="TextBox 108"/>
          <p:cNvSpPr txBox="1"/>
          <p:nvPr/>
        </p:nvSpPr>
        <p:spPr>
          <a:xfrm>
            <a:off x="68848" y="5745263"/>
            <a:ext cx="7986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Admin</a:t>
            </a:r>
            <a:endParaRPr lang="en-US" dirty="0"/>
          </a:p>
        </p:txBody>
      </p:sp>
      <p:sp>
        <p:nvSpPr>
          <p:cNvPr id="110" name="TextBox 109"/>
          <p:cNvSpPr txBox="1"/>
          <p:nvPr/>
        </p:nvSpPr>
        <p:spPr>
          <a:xfrm>
            <a:off x="7359407" y="3124200"/>
            <a:ext cx="18742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ayment Gateway</a:t>
            </a:r>
            <a:endParaRPr lang="en-US" dirty="0"/>
          </a:p>
        </p:txBody>
      </p:sp>
      <p:sp>
        <p:nvSpPr>
          <p:cNvPr id="111" name="TextBox 110"/>
          <p:cNvSpPr txBox="1"/>
          <p:nvPr/>
        </p:nvSpPr>
        <p:spPr>
          <a:xfrm>
            <a:off x="7500175" y="5910490"/>
            <a:ext cx="16874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hipping Ag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216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solidFill>
                  <a:schemeClr val="accent5">
                    <a:lumMod val="75000"/>
                  </a:schemeClr>
                </a:solidFill>
                <a:latin typeface="Batang" pitchFamily="18" charset="-127"/>
                <a:ea typeface="Batang" pitchFamily="18" charset="-127"/>
              </a:rPr>
              <a:t>REQUIREMENT TRACEABILITY MATRIX</a:t>
            </a:r>
            <a:endParaRPr lang="en-US" sz="3200" b="1" dirty="0">
              <a:solidFill>
                <a:schemeClr val="accent5">
                  <a:lumMod val="75000"/>
                </a:schemeClr>
              </a:solidFill>
              <a:latin typeface="Batang" pitchFamily="18" charset="-127"/>
              <a:ea typeface="Batang" pitchFamily="18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27029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24</TotalTime>
  <Words>337</Words>
  <Application>Microsoft Office PowerPoint</Application>
  <PresentationFormat>On-screen Show (4:3)</PresentationFormat>
  <Paragraphs>95</Paragraphs>
  <Slides>13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15" baseType="lpstr">
      <vt:lpstr>Executive</vt:lpstr>
      <vt:lpstr>Office Theme</vt:lpstr>
      <vt:lpstr>PowerPoint Presentation</vt:lpstr>
      <vt:lpstr>TEAM MEMBERS</vt:lpstr>
      <vt:lpstr>OVERVIEW OF THE PROJECT</vt:lpstr>
      <vt:lpstr>LOGIN PAGE</vt:lpstr>
      <vt:lpstr>Product Description page</vt:lpstr>
      <vt:lpstr>Shopping Cart Page</vt:lpstr>
      <vt:lpstr>ORDER DETAILS PAGE</vt:lpstr>
      <vt:lpstr>USE CASE</vt:lpstr>
      <vt:lpstr>REQUIREMENT TRACEABILITY MATRIX</vt:lpstr>
      <vt:lpstr>TEST CASES </vt:lpstr>
      <vt:lpstr>Defects Found:</vt:lpstr>
      <vt:lpstr>CONCLUS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IG, hwdlab1B</cp:lastModifiedBy>
  <cp:revision>187</cp:revision>
  <dcterms:created xsi:type="dcterms:W3CDTF">2015-08-27T08:52:20Z</dcterms:created>
  <dcterms:modified xsi:type="dcterms:W3CDTF">2018-11-29T12:33:05Z</dcterms:modified>
</cp:coreProperties>
</file>